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</p:sldMasterIdLst>
  <p:notesMasterIdLst>
    <p:notesMasterId r:id="rId6"/>
  </p:notesMasterIdLst>
  <p:sldIdLst>
    <p:sldId id="1887" r:id="rId5"/>
  </p:sldIdLst>
  <p:sldSz cx="9144000" cy="6858000" type="screen4x3"/>
  <p:notesSz cx="7010400" cy="9296400"/>
  <p:custDataLst>
    <p:tags r:id="rId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800000"/>
    <a:srgbClr val="3C4D55"/>
    <a:srgbClr val="D5B36B"/>
    <a:srgbClr val="9E8D7A"/>
    <a:srgbClr val="635749"/>
    <a:srgbClr val="092A60"/>
    <a:srgbClr val="7A3F39"/>
    <a:srgbClr val="769BA3"/>
    <a:srgbClr val="7D87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6449" autoAdjust="0"/>
  </p:normalViewPr>
  <p:slideViewPr>
    <p:cSldViewPr snapToGrid="0">
      <p:cViewPr varScale="1">
        <p:scale>
          <a:sx n="62" d="100"/>
          <a:sy n="62" d="100"/>
        </p:scale>
        <p:origin x="1308" y="56"/>
      </p:cViewPr>
      <p:guideLst/>
    </p:cSldViewPr>
  </p:slideViewPr>
  <p:outlineViewPr>
    <p:cViewPr>
      <p:scale>
        <a:sx n="25" d="100"/>
        <a:sy n="25" d="100"/>
      </p:scale>
      <p:origin x="0" y="-3612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-2706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1.xml"/><Relationship Id="rId1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6BE1BF66-C8D4-40C7-B836-383FEEEAE40B}" type="datetimeFigureOut">
              <a:rPr lang="en-US" smtClean="0"/>
              <a:t>1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14463" y="1162050"/>
            <a:ext cx="4181475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683D5718-B7A2-46F8-8179-34F283AA44E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63501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6" Type="http://schemas.openxmlformats.org/officeDocument/2006/relationships/image" Target="../media/image7.png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2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microsoft.com/office/2007/relationships/hdphoto" Target="../media/hdphoto1.wdp"/><Relationship Id="rId5" Type="http://schemas.openxmlformats.org/officeDocument/2006/relationships/image" Target="../media/image6.pn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8.pn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7.png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0CA98-A1BB-41BF-B8CA-FCCC5E9979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846264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0CA98-A1BB-41BF-B8CA-FCCC5E99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" y="2314666"/>
            <a:ext cx="4328160" cy="1567180"/>
          </a:xfrm>
        </p:spPr>
        <p:txBody>
          <a:bodyPr vert="horz" lIns="0" tIns="0" rIns="0" bIns="0" anchor="b">
            <a:normAutofit/>
          </a:bodyPr>
          <a:lstStyle>
            <a:lvl1pPr algn="ctr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" y="4079967"/>
            <a:ext cx="4328160" cy="1655762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2D4919E6-57B7-4BC2-B0CB-2418419F30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924" y="259527"/>
            <a:ext cx="3267192" cy="163359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9BEFF10-0F25-450C-A5FC-19421666C0BC}"/>
              </a:ext>
            </a:extLst>
          </p:cNvPr>
          <p:cNvCxnSpPr>
            <a:cxnSpLocks/>
          </p:cNvCxnSpPr>
          <p:nvPr userDrawn="1"/>
        </p:nvCxnSpPr>
        <p:spPr>
          <a:xfrm>
            <a:off x="91440" y="3973286"/>
            <a:ext cx="4328160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37" name="Picture 36">
            <a:extLst>
              <a:ext uri="{FF2B5EF4-FFF2-40B4-BE49-F238E27FC236}">
                <a16:creationId xmlns:a16="http://schemas.microsoft.com/office/drawing/2014/main" id="{F5EA9E26-B897-4E28-A084-8F4E3895253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alphaModFix amt="9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2398" y="0"/>
            <a:ext cx="4571602" cy="6858000"/>
          </a:xfrm>
          <a:prstGeom prst="rect">
            <a:avLst/>
          </a:prstGeom>
          <a:effectLst/>
        </p:spPr>
      </p:pic>
      <p:sp>
        <p:nvSpPr>
          <p:cNvPr id="48" name="Rectangle 47">
            <a:extLst>
              <a:ext uri="{FF2B5EF4-FFF2-40B4-BE49-F238E27FC236}">
                <a16:creationId xmlns:a16="http://schemas.microsoft.com/office/drawing/2014/main" id="{A6C9F925-299D-47DD-A78D-6B15F3C30C54}"/>
              </a:ext>
            </a:extLst>
          </p:cNvPr>
          <p:cNvSpPr/>
          <p:nvPr userDrawn="1"/>
        </p:nvSpPr>
        <p:spPr>
          <a:xfrm>
            <a:off x="4572000" y="0"/>
            <a:ext cx="4572000" cy="6858000"/>
          </a:xfrm>
          <a:prstGeom prst="rect">
            <a:avLst/>
          </a:prstGeom>
          <a:gradFill flip="none" rotWithShape="1">
            <a:gsLst>
              <a:gs pos="0">
                <a:schemeClr val="accent4"/>
              </a:gs>
              <a:gs pos="59000">
                <a:schemeClr val="accent4">
                  <a:alpha val="0"/>
                </a:schemeClr>
              </a:gs>
            </a:gsLst>
            <a:lin ang="21594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3997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CFFE8D3-7862-4695-8371-266F97DFF3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23748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CFFE8D3-7862-4695-8371-266F97DF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6F6DB4F-3E83-49D7-AAC6-147FB3A88172}"/>
              </a:ext>
            </a:extLst>
          </p:cNvPr>
          <p:cNvSpPr/>
          <p:nvPr userDrawn="1"/>
        </p:nvSpPr>
        <p:spPr>
          <a:xfrm>
            <a:off x="0" y="311788"/>
            <a:ext cx="9144000" cy="8997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4BF1360-F16E-4AFF-B268-17F63C18C0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2920" y="6324598"/>
            <a:ext cx="392430" cy="365125"/>
          </a:xfrm>
        </p:spPr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B8C13A56-F931-4151-8228-96A428AAC2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58140" y="6324598"/>
            <a:ext cx="7665720" cy="365125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77309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Faculty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CFFE8D3-7862-4695-8371-266F97DFF3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26629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CFFE8D3-7862-4695-8371-266F97DF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6F6DB4F-3E83-49D7-AAC6-147FB3A88172}"/>
              </a:ext>
            </a:extLst>
          </p:cNvPr>
          <p:cNvSpPr/>
          <p:nvPr userDrawn="1"/>
        </p:nvSpPr>
        <p:spPr>
          <a:xfrm>
            <a:off x="0" y="311788"/>
            <a:ext cx="9144000" cy="899792"/>
          </a:xfrm>
          <a:prstGeom prst="rect">
            <a:avLst/>
          </a:prstGeom>
          <a:solidFill>
            <a:srgbClr val="FBD9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710F72-1BC9-4FF9-B0C4-4D06659C0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2920" y="6324598"/>
            <a:ext cx="392430" cy="365125"/>
          </a:xfrm>
        </p:spPr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571676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ter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CFFE8D3-7862-4695-8371-266F97DFF3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3920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CFFE8D3-7862-4695-8371-266F97DF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44A4778E-EC42-42ED-A4E4-A9DF1D5EE9D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023381" y="1155068"/>
            <a:ext cx="4120619" cy="4874258"/>
          </a:xfrm>
          <a:prstGeom prst="rect">
            <a:avLst/>
          </a:prstGeom>
        </p:spPr>
      </p:pic>
      <p:sp>
        <p:nvSpPr>
          <p:cNvPr id="6" name="Rectangle 5">
            <a:extLst>
              <a:ext uri="{FF2B5EF4-FFF2-40B4-BE49-F238E27FC236}">
                <a16:creationId xmlns:a16="http://schemas.microsoft.com/office/drawing/2014/main" id="{96F6DB4F-3E83-49D7-AAC6-147FB3A88172}"/>
              </a:ext>
            </a:extLst>
          </p:cNvPr>
          <p:cNvSpPr>
            <a:spLocks/>
          </p:cNvSpPr>
          <p:nvPr userDrawn="1"/>
        </p:nvSpPr>
        <p:spPr>
          <a:xfrm>
            <a:off x="-15240" y="1155068"/>
            <a:ext cx="9144000" cy="4874258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87000">
                <a:schemeClr val="bg1">
                  <a:alpha val="37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E4A3FE-D2EA-4A50-97DC-AD0F92C1214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603" y="6176962"/>
            <a:ext cx="660397" cy="660397"/>
          </a:xfrm>
          <a:prstGeom prst="rect">
            <a:avLst/>
          </a:prstGeom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D6B3996B-CC48-45F2-B582-A8D71C9CA9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58140" y="341635"/>
            <a:ext cx="8442960" cy="823594"/>
          </a:xfrm>
        </p:spPr>
        <p:txBody>
          <a:bodyPr vert="horz"/>
          <a:lstStyle>
            <a:lvl1pPr>
              <a:defRPr/>
            </a:lvl1pPr>
          </a:lstStyle>
          <a:p>
            <a:r>
              <a:rPr lang="en-US" dirty="0"/>
              <a:t>References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D9C18682-99D7-4D3D-8DEF-BA21133D27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58775" y="1410436"/>
            <a:ext cx="4354513" cy="435731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015936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4">
            <a:extLst>
              <a:ext uri="{FF2B5EF4-FFF2-40B4-BE49-F238E27FC236}">
                <a16:creationId xmlns:a16="http://schemas.microsoft.com/office/drawing/2014/main" id="{B40A6315-52CE-4628-AC2A-A7FBCC9EF6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2920" y="6324598"/>
            <a:ext cx="392430" cy="365125"/>
          </a:xfrm>
        </p:spPr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186824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0CA98-A1BB-41BF-B8CA-FCCC5E9979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62739960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0CA98-A1BB-41BF-B8CA-FCCC5E99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" y="2314666"/>
            <a:ext cx="4328160" cy="1567180"/>
          </a:xfrm>
        </p:spPr>
        <p:txBody>
          <a:bodyPr vert="horz" lIns="0" tIns="0" rIns="0" bIns="0" anchor="b">
            <a:normAutofit/>
          </a:bodyPr>
          <a:lstStyle>
            <a:lvl1pPr algn="ctr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" y="4079967"/>
            <a:ext cx="4328160" cy="1655762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2D4919E6-57B7-4BC2-B0CB-2418419F30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924" y="259527"/>
            <a:ext cx="3267192" cy="163359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9BEFF10-0F25-450C-A5FC-19421666C0BC}"/>
              </a:ext>
            </a:extLst>
          </p:cNvPr>
          <p:cNvCxnSpPr>
            <a:cxnSpLocks/>
          </p:cNvCxnSpPr>
          <p:nvPr userDrawn="1"/>
        </p:nvCxnSpPr>
        <p:spPr>
          <a:xfrm>
            <a:off x="91440" y="3973286"/>
            <a:ext cx="4328160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35" name="Picture 34">
            <a:extLst>
              <a:ext uri="{FF2B5EF4-FFF2-40B4-BE49-F238E27FC236}">
                <a16:creationId xmlns:a16="http://schemas.microsoft.com/office/drawing/2014/main" id="{5A9B340F-1CCE-42CD-96CA-5CDDD5DCAE7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92744" y="0"/>
            <a:ext cx="4572384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5202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0CA98-A1BB-41BF-B8CA-FCCC5E9979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490072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0CA98-A1BB-41BF-B8CA-FCCC5E99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" y="2314666"/>
            <a:ext cx="4328160" cy="1567180"/>
          </a:xfrm>
        </p:spPr>
        <p:txBody>
          <a:bodyPr vert="horz" lIns="0" tIns="0" rIns="0" bIns="0" anchor="b">
            <a:normAutofit/>
          </a:bodyPr>
          <a:lstStyle>
            <a:lvl1pPr algn="ctr">
              <a:defRPr sz="3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" y="4079967"/>
            <a:ext cx="4328160" cy="1655762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2D4919E6-57B7-4BC2-B0CB-2418419F30A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1924" y="259527"/>
            <a:ext cx="3267192" cy="1633597"/>
          </a:xfrm>
          <a:prstGeom prst="rect">
            <a:avLst/>
          </a:prstGeom>
        </p:spPr>
      </p:pic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9BEFF10-0F25-450C-A5FC-19421666C0BC}"/>
              </a:ext>
            </a:extLst>
          </p:cNvPr>
          <p:cNvCxnSpPr>
            <a:cxnSpLocks/>
          </p:cNvCxnSpPr>
          <p:nvPr userDrawn="1"/>
        </p:nvCxnSpPr>
        <p:spPr>
          <a:xfrm>
            <a:off x="91440" y="3973286"/>
            <a:ext cx="4328160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41" name="Picture 40">
            <a:extLst>
              <a:ext uri="{FF2B5EF4-FFF2-40B4-BE49-F238E27FC236}">
                <a16:creationId xmlns:a16="http://schemas.microsoft.com/office/drawing/2014/main" id="{71463D81-1E40-426E-A926-B532C742AB6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5920" y="0"/>
            <a:ext cx="45780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7410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9510CA98-A1BB-41BF-B8CA-FCCC5E9979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89548041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9510CA98-A1BB-41BF-B8CA-FCCC5E9979B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794E7799-8A07-43C7-859D-4479CDD4590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63958" y="0"/>
            <a:ext cx="5486748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" y="2314666"/>
            <a:ext cx="3583915" cy="1567180"/>
          </a:xfrm>
        </p:spPr>
        <p:txBody>
          <a:bodyPr vert="horz" lIns="0" tIns="0" rIns="0" bIns="0" anchor="b">
            <a:normAutofit/>
          </a:bodyPr>
          <a:lstStyle>
            <a:lvl1pPr algn="ctr">
              <a:defRPr sz="3400">
                <a:solidFill>
                  <a:srgbClr val="000000"/>
                </a:solidFill>
              </a:defRPr>
            </a:lvl1pPr>
          </a:lstStyle>
          <a:p>
            <a:r>
              <a:rPr lang="en-US" dirty="0"/>
              <a:t>Emerging Leaders Forum 2022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91440" y="4079967"/>
            <a:ext cx="3583915" cy="1655762"/>
          </a:xfrm>
        </p:spPr>
        <p:txBody>
          <a:bodyPr lIns="0" tIns="0" rIns="0" bIns="0"/>
          <a:lstStyle>
            <a:lvl1pPr marL="0" indent="0" algn="ctr">
              <a:buNone/>
              <a:defRPr sz="2000">
                <a:solidFill>
                  <a:srgbClr val="000000"/>
                </a:solidFill>
                <a:latin typeface="Georgia" panose="02040502050405020303" pitchFamily="18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Participant Handbook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9BEFF10-0F25-450C-A5FC-19421666C0BC}"/>
              </a:ext>
            </a:extLst>
          </p:cNvPr>
          <p:cNvCxnSpPr>
            <a:cxnSpLocks/>
          </p:cNvCxnSpPr>
          <p:nvPr userDrawn="1"/>
        </p:nvCxnSpPr>
        <p:spPr>
          <a:xfrm>
            <a:off x="91440" y="3973286"/>
            <a:ext cx="3583915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5" name="Picture 14" descr="Text&#10;&#10;Description automatically generated with medium confidence">
            <a:extLst>
              <a:ext uri="{FF2B5EF4-FFF2-40B4-BE49-F238E27FC236}">
                <a16:creationId xmlns:a16="http://schemas.microsoft.com/office/drawing/2014/main" id="{2D4919E6-57B7-4BC2-B0CB-2418419F30A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49196" y="5302043"/>
            <a:ext cx="3267192" cy="16335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224381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C15F9CD-8985-4FEE-A6F8-BC477A71A10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057077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2C15F9CD-8985-4FEE-A6F8-BC477A71A10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F4B55B98-FF3E-4CA3-AD6C-0B9E0ABCF9D4}"/>
              </a:ext>
            </a:extLst>
          </p:cNvPr>
          <p:cNvSpPr/>
          <p:nvPr userDrawn="1"/>
        </p:nvSpPr>
        <p:spPr>
          <a:xfrm>
            <a:off x="0" y="311788"/>
            <a:ext cx="9144000" cy="8997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7EDD04D-881B-4C19-A05E-76AFDD7EE44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603" y="6176962"/>
            <a:ext cx="660397" cy="66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0498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B677D490-5F7C-4473-85B0-22E6DC5F463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499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B677D490-5F7C-4473-85B0-22E6DC5F463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>
            <a:extLst>
              <a:ext uri="{FF2B5EF4-FFF2-40B4-BE49-F238E27FC236}">
                <a16:creationId xmlns:a16="http://schemas.microsoft.com/office/drawing/2014/main" id="{78EFDF1F-9A3A-4BC0-8AE2-CD841C31CDFD}"/>
              </a:ext>
            </a:extLst>
          </p:cNvPr>
          <p:cNvSpPr/>
          <p:nvPr userDrawn="1"/>
        </p:nvSpPr>
        <p:spPr>
          <a:xfrm>
            <a:off x="0" y="0"/>
            <a:ext cx="9144000" cy="163353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7188" y="1922464"/>
            <a:ext cx="5370512" cy="2852737"/>
          </a:xfrm>
        </p:spPr>
        <p:txBody>
          <a:bodyPr vert="horz" anchor="b">
            <a:normAutofit/>
          </a:bodyPr>
          <a:lstStyle>
            <a:lvl1pPr>
              <a:defRPr sz="40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7188" y="4878389"/>
            <a:ext cx="5370512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tx1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088FF4B-D7AE-44DF-8258-5455F125D23F}"/>
              </a:ext>
            </a:extLst>
          </p:cNvPr>
          <p:cNvCxnSpPr>
            <a:cxnSpLocks/>
          </p:cNvCxnSpPr>
          <p:nvPr userDrawn="1"/>
        </p:nvCxnSpPr>
        <p:spPr>
          <a:xfrm>
            <a:off x="357188" y="4790441"/>
            <a:ext cx="5370512" cy="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11" name="Picture 10" descr="Text&#10;&#10;Description automatically generated with medium confidence">
            <a:extLst>
              <a:ext uri="{FF2B5EF4-FFF2-40B4-BE49-F238E27FC236}">
                <a16:creationId xmlns:a16="http://schemas.microsoft.com/office/drawing/2014/main" id="{C3F467E7-4554-4383-9132-49FFA4F750F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78082" y="87628"/>
            <a:ext cx="3267192" cy="1633597"/>
          </a:xfrm>
          <a:prstGeom prst="rect">
            <a:avLst/>
          </a:prstGeom>
        </p:spPr>
      </p:pic>
      <p:pic>
        <p:nvPicPr>
          <p:cNvPr id="12" name="Picture 11" descr="A picture containing text, vector graphics&#10;&#10;Description automatically generated">
            <a:extLst>
              <a:ext uri="{FF2B5EF4-FFF2-40B4-BE49-F238E27FC236}">
                <a16:creationId xmlns:a16="http://schemas.microsoft.com/office/drawing/2014/main" id="{801A8D88-E56E-4EAA-AE24-C0A694EDF56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8156" y="1633539"/>
            <a:ext cx="4687044" cy="49799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54148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674A8702-7E81-497D-918B-548C80D3E8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96135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674A8702-7E81-497D-918B-548C80D3E8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47118C1E-1999-429B-AD64-6B7EB008027C}"/>
              </a:ext>
            </a:extLst>
          </p:cNvPr>
          <p:cNvSpPr/>
          <p:nvPr userDrawn="1"/>
        </p:nvSpPr>
        <p:spPr>
          <a:xfrm>
            <a:off x="0" y="311788"/>
            <a:ext cx="9144000" cy="8997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>
            <a:lvl4pPr>
              <a:defRPr/>
            </a:lvl4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297F1D08-C7E1-4573-B993-21ED14CD9F1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603" y="6176962"/>
            <a:ext cx="660397" cy="66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28263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848582"/>
            <a:ext cx="3868340" cy="249299"/>
          </a:xfrm>
        </p:spPr>
        <p:txBody>
          <a:bodyPr lIns="0" tIns="0" rIns="0" bIns="0" anchor="t">
            <a:sp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264571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848582"/>
            <a:ext cx="3887391" cy="249299"/>
          </a:xfrm>
        </p:spPr>
        <p:txBody>
          <a:bodyPr lIns="0" tIns="0" rIns="0" bIns="0" anchor="t">
            <a:spAutoFit/>
          </a:bodyPr>
          <a:lstStyle>
            <a:lvl1pPr marL="0" indent="0">
              <a:buNone/>
              <a:defRPr sz="1800" b="1">
                <a:solidFill>
                  <a:schemeClr val="accent2"/>
                </a:solidFill>
                <a:latin typeface="Georgia" panose="02040502050405020303" pitchFamily="18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264571"/>
            <a:ext cx="3887391" cy="3684588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148D3D6-178F-4D28-80EB-80D134057CC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603" y="6176962"/>
            <a:ext cx="660397" cy="66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66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an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9CFFE8D3-7862-4695-8371-266F97DFF3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9455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9CFFE8D3-7862-4695-8371-266F97DFF3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96F6DB4F-3E83-49D7-AAC6-147FB3A88172}"/>
              </a:ext>
            </a:extLst>
          </p:cNvPr>
          <p:cNvSpPr/>
          <p:nvPr userDrawn="1"/>
        </p:nvSpPr>
        <p:spPr>
          <a:xfrm>
            <a:off x="0" y="311788"/>
            <a:ext cx="9144000" cy="89979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9BE62A0-98F8-4A6C-A9B9-BDCA7C27245F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E4A3FE-D2EA-4A50-97DC-AD0F92C1214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83603" y="6176962"/>
            <a:ext cx="660397" cy="66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1633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E5B5DFF7-713A-40D9-B24E-0F379EA21F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646624865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E5B5DFF7-713A-40D9-B24E-0F379EA21F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58140" y="341635"/>
            <a:ext cx="8442960" cy="82359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58140" y="1825625"/>
            <a:ext cx="844296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58140" y="6324598"/>
            <a:ext cx="766572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122920" y="6324598"/>
            <a:ext cx="3924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09BE62A0-98F8-4A6C-A9B9-BDCA7C27245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94134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8" r:id="rId2"/>
    <p:sldLayoutId id="2147483669" r:id="rId3"/>
    <p:sldLayoutId id="2147483670" r:id="rId4"/>
    <p:sldLayoutId id="2147483662" r:id="rId5"/>
    <p:sldLayoutId id="2147483663" r:id="rId6"/>
    <p:sldLayoutId id="2147483664" r:id="rId7"/>
    <p:sldLayoutId id="2147483665" r:id="rId8"/>
    <p:sldLayoutId id="2147483666" r:id="rId9"/>
    <p:sldLayoutId id="2147483672" r:id="rId10"/>
    <p:sldLayoutId id="2147483676" r:id="rId11"/>
    <p:sldLayoutId id="2147483673" r:id="rId12"/>
    <p:sldLayoutId id="2147483667" r:id="rId1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4"/>
          </a:solidFill>
          <a:latin typeface="Georgia" panose="02040502050405020303" pitchFamily="18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8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175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−"/>
        <a:defRPr sz="18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60425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3325" indent="-228600" algn="l" defTabSz="914400" rtl="0" eaLnBrk="1" latinLnBrk="0" hangingPunct="1">
        <a:lnSpc>
          <a:spcPct val="90000"/>
        </a:lnSpc>
        <a:spcBef>
          <a:spcPts val="500"/>
        </a:spcBef>
        <a:buSzPct val="80000"/>
        <a:buFont typeface="Wingdings" panose="05000000000000000000" pitchFamily="2" charset="2"/>
        <a:buChar char="Ø"/>
        <a:defRPr sz="18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rgbClr val="000000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4.xml"/><Relationship Id="rId4" Type="http://schemas.openxmlformats.org/officeDocument/2006/relationships/image" Target="../media/image10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4FEF689-CEBD-4762-BB6F-E7152416A1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187176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53" imgH="353" progId="TCLayout.ActiveDocument.1">
                  <p:embed/>
                </p:oleObj>
              </mc:Choice>
              <mc:Fallback>
                <p:oleObj name="think-cell Slide" r:id="rId3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6D4C2616-B7C4-4864-B43A-7E5ED4AF0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en-US" dirty="0"/>
              <a:t>ELF Agenda - </a:t>
            </a:r>
            <a:br>
              <a:rPr lang="en-US" dirty="0"/>
            </a:br>
            <a:r>
              <a:rPr lang="en-US" dirty="0"/>
              <a:t>June 13 &amp; 14, Salt Lake City, UT</a:t>
            </a:r>
          </a:p>
        </p:txBody>
      </p:sp>
      <p:sp>
        <p:nvSpPr>
          <p:cNvPr id="94" name="TextBox 93">
            <a:extLst>
              <a:ext uri="{FF2B5EF4-FFF2-40B4-BE49-F238E27FC236}">
                <a16:creationId xmlns:a16="http://schemas.microsoft.com/office/drawing/2014/main" id="{9FED2138-9535-249A-9FFE-6829557236E9}"/>
              </a:ext>
            </a:extLst>
          </p:cNvPr>
          <p:cNvSpPr txBox="1"/>
          <p:nvPr/>
        </p:nvSpPr>
        <p:spPr>
          <a:xfrm>
            <a:off x="447675" y="2779417"/>
            <a:ext cx="3960000" cy="324000"/>
          </a:xfrm>
          <a:prstGeom prst="round2Same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 b="1">
                <a:solidFill>
                  <a:srgbClr val="FFFFFF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Day 1</a:t>
            </a: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6CF533B-BC3E-7C07-C6D8-B0E8125DF1C0}"/>
              </a:ext>
            </a:extLst>
          </p:cNvPr>
          <p:cNvSpPr txBox="1"/>
          <p:nvPr/>
        </p:nvSpPr>
        <p:spPr>
          <a:xfrm>
            <a:off x="4825225" y="1400612"/>
            <a:ext cx="3960000" cy="324000"/>
          </a:xfrm>
          <a:prstGeom prst="round2SameRect">
            <a:avLst/>
          </a:prstGeom>
          <a:solidFill>
            <a:schemeClr val="bg2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>
              <a:defRPr sz="1400" b="1">
                <a:solidFill>
                  <a:srgbClr val="FFFFFF"/>
                </a:solidFill>
                <a:latin typeface="Arial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en-US" dirty="0"/>
              <a:t>Day 2</a:t>
            </a:r>
          </a:p>
        </p:txBody>
      </p:sp>
      <p:graphicFrame>
        <p:nvGraphicFramePr>
          <p:cNvPr id="96" name="Table 42">
            <a:extLst>
              <a:ext uri="{FF2B5EF4-FFF2-40B4-BE49-F238E27FC236}">
                <a16:creationId xmlns:a16="http://schemas.microsoft.com/office/drawing/2014/main" id="{B5FD0F64-DDA7-FB28-713D-186442E8C0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3564622"/>
              </p:ext>
            </p:extLst>
          </p:nvPr>
        </p:nvGraphicFramePr>
        <p:xfrm>
          <a:off x="4825225" y="1759328"/>
          <a:ext cx="3960000" cy="437194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574">
                  <a:extLst>
                    <a:ext uri="{9D8B030D-6E8A-4147-A177-3AD203B41FA5}">
                      <a16:colId xmlns:a16="http://schemas.microsoft.com/office/drawing/2014/main" val="85571715"/>
                    </a:ext>
                  </a:extLst>
                </a:gridCol>
                <a:gridCol w="3017426">
                  <a:extLst>
                    <a:ext uri="{9D8B030D-6E8A-4147-A177-3AD203B41FA5}">
                      <a16:colId xmlns:a16="http://schemas.microsoft.com/office/drawing/2014/main" val="2786800533"/>
                    </a:ext>
                  </a:extLst>
                </a:gridCol>
              </a:tblGrid>
              <a:tr h="286879">
                <a:tc>
                  <a:txBody>
                    <a:bodyPr/>
                    <a:lstStyle/>
                    <a:p>
                      <a:r>
                        <a:rPr lang="en-US" sz="1400" dirty="0"/>
                        <a:t>Time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opic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727558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:00 – 08:1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ning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894861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:10 – 08:2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OA Presidential Lin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023479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:20 – 08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OA Programs Overview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627806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8:30 – 10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naging Your Energy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7376192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:00 – 10:2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reak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32714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:20 – 11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 Resilienc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4040998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:30 – 12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dership Story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61990431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:00 – 01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nch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5657381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:00 – 02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ying And Dealing With Moral Injury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50864345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:00 – 03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ting Priorities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66701410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:00 – 03:2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k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5161754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03:20 – 04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Building Habits To Support Balanc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18371304"/>
                  </a:ext>
                </a:extLst>
              </a:tr>
              <a:tr h="31285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4:30 – 05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 Closing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5791303"/>
                  </a:ext>
                </a:extLst>
              </a:tr>
            </a:tbl>
          </a:graphicData>
        </a:graphic>
      </p:graphicFrame>
      <p:graphicFrame>
        <p:nvGraphicFramePr>
          <p:cNvPr id="97" name="Table 42">
            <a:extLst>
              <a:ext uri="{FF2B5EF4-FFF2-40B4-BE49-F238E27FC236}">
                <a16:creationId xmlns:a16="http://schemas.microsoft.com/office/drawing/2014/main" id="{4A7DB089-A192-C554-511D-57BDC74AD59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6088233"/>
              </p:ext>
            </p:extLst>
          </p:nvPr>
        </p:nvGraphicFramePr>
        <p:xfrm>
          <a:off x="447675" y="3138133"/>
          <a:ext cx="3960000" cy="29931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42574">
                  <a:extLst>
                    <a:ext uri="{9D8B030D-6E8A-4147-A177-3AD203B41FA5}">
                      <a16:colId xmlns:a16="http://schemas.microsoft.com/office/drawing/2014/main" val="85571715"/>
                    </a:ext>
                  </a:extLst>
                </a:gridCol>
                <a:gridCol w="3017426">
                  <a:extLst>
                    <a:ext uri="{9D8B030D-6E8A-4147-A177-3AD203B41FA5}">
                      <a16:colId xmlns:a16="http://schemas.microsoft.com/office/drawing/2014/main" val="278680053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r>
                        <a:rPr lang="en-US" sz="1400" dirty="0"/>
                        <a:t>Time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Topic</a:t>
                      </a:r>
                    </a:p>
                  </a:txBody>
                  <a:tcPr marL="36000" marR="36000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072755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:00 – 01:1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elcom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4389486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:10 – 01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roductions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4023479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1:30 – 02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hy This Matters Now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3262780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2:00 – 03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dentifying What Gets You Out Of Balanc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4737619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:30 – 03:5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eak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013271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3:50 – 05:2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xploring Personal Values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404099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:20 – 05:3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ing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1477233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5:30 – 06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e Time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1730443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6:00 – 07:00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i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erging Leaders Reception</a:t>
                      </a:r>
                    </a:p>
                  </a:txBody>
                  <a:tcPr marL="36000" marR="36000" marT="73152" marB="73152">
                    <a:lnL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9969892"/>
                  </a:ext>
                </a:extLst>
              </a:tr>
            </a:tbl>
          </a:graphicData>
        </a:graphic>
      </p:graphicFrame>
      <p:sp>
        <p:nvSpPr>
          <p:cNvPr id="98" name="Slide Number Placeholder 4">
            <a:extLst>
              <a:ext uri="{FF2B5EF4-FFF2-40B4-BE49-F238E27FC236}">
                <a16:creationId xmlns:a16="http://schemas.microsoft.com/office/drawing/2014/main" id="{D0A9696C-A23F-369D-FE67-CF7C97D636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122920" y="6324598"/>
            <a:ext cx="392430" cy="365125"/>
          </a:xfrm>
        </p:spPr>
        <p:txBody>
          <a:bodyPr/>
          <a:lstStyle/>
          <a:p>
            <a:fld id="{09BE62A0-98F8-4A6C-A9B9-BDCA7C27245F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6395379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O_APP_VERSION" val="0.21.0.2123"/>
  <p:tag name="SLIDO_PRESENTATION_ID" val="00000000-0000-0000-0000-000000000000"/>
  <p:tag name="SLIDO_EVENT_UUID" val="94f1e7d0-6a48-454a-9263-df5f7003a00f"/>
  <p:tag name="SLIDO_EVENT_SECTION_UUID" val="610bd2ed-61e2-48a8-bd83-972810368d73"/>
  <p:tag name="THINKCELLUNDODONOTDELETE" val="0"/>
  <p:tag name="THINKCELLPRESENTATIONDONOTDELETE" val="&lt;?xml version=&quot;1.0&quot; encoding=&quot;UTF-16&quot; standalone=&quot;yes&quot;?&gt;&lt;root reqver=&quot;27037&quot;&gt;&lt;version val=&quot;3283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1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OA">
      <a:dk1>
        <a:srgbClr val="3D4D55"/>
      </a:dk1>
      <a:lt1>
        <a:srgbClr val="FFFFFF"/>
      </a:lt1>
      <a:dk2>
        <a:srgbClr val="BCD4D6"/>
      </a:dk2>
      <a:lt2>
        <a:srgbClr val="506C74"/>
      </a:lt2>
      <a:accent1>
        <a:srgbClr val="759BA3"/>
      </a:accent1>
      <a:accent2>
        <a:srgbClr val="5D8089"/>
      </a:accent2>
      <a:accent3>
        <a:srgbClr val="506C74"/>
      </a:accent3>
      <a:accent4>
        <a:srgbClr val="3D4D55"/>
      </a:accent4>
      <a:accent5>
        <a:srgbClr val="FFFFFF"/>
      </a:accent5>
      <a:accent6>
        <a:srgbClr val="FFFFF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  <a:extLst>
          <a:ext uri="{909E8E84-426E-40DD-AFC4-6F175D3DCCD1}">
            <a14:hiddenFill xmlns:a14="http://schemas.microsoft.com/office/drawing/2010/main">
              <a:solidFill>
                <a:scrgbClr r="0" g="0" b="0"/>
              </a:solidFill>
            </a14:hiddenFill>
          </a:ext>
        </a:extLst>
      </a:spPr>
      <a:bodyPr vert="horz" wrap="square" lIns="0" tIns="0" rIns="0" bIns="0" rtlCol="0">
        <a:spAutoFit/>
      </a:bodyPr>
      <a:lstStyle>
        <a:defPPr marL="230188" indent="-230188" algn="l">
          <a:buFont typeface="Wingdings" panose="05000000000000000000" pitchFamily="2" charset="2"/>
          <a:buChar char="§"/>
          <a:defRPr sz="1400" dirty="0" smtClean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df000e6-256d-491a-be67-33296e7b13ee" xsi:nil="true"/>
    <lcf76f155ced4ddcb4097134ff3c332f xmlns="0442b678-f91b-4516-903a-adf45fd05160">
      <Terms xmlns="http://schemas.microsoft.com/office/infopath/2007/PartnerControls"/>
    </lcf76f155ced4ddcb4097134ff3c332f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D5AEA1D5E362B469B27082600488281" ma:contentTypeVersion="16" ma:contentTypeDescription="Create a new document." ma:contentTypeScope="" ma:versionID="ebcaaf8c482040ef995427f65dbb1c95">
  <xsd:schema xmlns:xsd="http://www.w3.org/2001/XMLSchema" xmlns:xs="http://www.w3.org/2001/XMLSchema" xmlns:p="http://schemas.microsoft.com/office/2006/metadata/properties" xmlns:ns2="0442b678-f91b-4516-903a-adf45fd05160" xmlns:ns3="5df000e6-256d-491a-be67-33296e7b13ee" targetNamespace="http://schemas.microsoft.com/office/2006/metadata/properties" ma:root="true" ma:fieldsID="404a58662643f8a237ded5d9315df7b5" ns2:_="" ns3:_="">
    <xsd:import namespace="0442b678-f91b-4516-903a-adf45fd05160"/>
    <xsd:import namespace="5df000e6-256d-491a-be67-33296e7b13e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442b678-f91b-4516-903a-adf45fd0516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9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8c55f47f-ff99-4910-adb5-65988ba65cc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df000e6-256d-491a-be67-33296e7b13ee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eaf024db-3b80-4a69-939c-794534861a75}" ma:internalName="TaxCatchAll" ma:showField="CatchAllData" ma:web="5df000e6-256d-491a-be67-33296e7b13e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945B62A-85A5-4DF7-9514-09B9F18736B9}">
  <ds:schemaRefs>
    <ds:schemaRef ds:uri="http://schemas.microsoft.com/office/2006/metadata/properties"/>
    <ds:schemaRef ds:uri="http://schemas.microsoft.com/office/infopath/2007/PartnerControls"/>
    <ds:schemaRef ds:uri="5df000e6-256d-491a-be67-33296e7b13ee"/>
    <ds:schemaRef ds:uri="0442b678-f91b-4516-903a-adf45fd05160"/>
  </ds:schemaRefs>
</ds:datastoreItem>
</file>

<file path=customXml/itemProps2.xml><?xml version="1.0" encoding="utf-8"?>
<ds:datastoreItem xmlns:ds="http://schemas.openxmlformats.org/officeDocument/2006/customXml" ds:itemID="{12DCB6C5-D917-4B8B-987C-578B7D90EF3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5B75E4E-C42F-46B9-9AC0-9B30FAF1EA4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442b678-f91b-4516-903a-adf45fd05160"/>
    <ds:schemaRef ds:uri="5df000e6-256d-491a-be67-33296e7b13e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1465</TotalTime>
  <Words>144</Words>
  <Application>Microsoft Office PowerPoint</Application>
  <PresentationFormat>On-screen Show (4:3)</PresentationFormat>
  <Paragraphs>5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Wingdings</vt:lpstr>
      <vt:lpstr>Office Theme</vt:lpstr>
      <vt:lpstr>think-cell Slide</vt:lpstr>
      <vt:lpstr>ELF Agenda -  June 13 &amp; 14, Salt Lake City, U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merging Leader Forum</dc:title>
  <dc:creator>Phil E</dc:creator>
  <cp:lastModifiedBy>Michael Kazanow</cp:lastModifiedBy>
  <cp:revision>209</cp:revision>
  <cp:lastPrinted>2022-05-10T16:49:02Z</cp:lastPrinted>
  <dcterms:created xsi:type="dcterms:W3CDTF">2021-11-24T16:19:27Z</dcterms:created>
  <dcterms:modified xsi:type="dcterms:W3CDTF">2023-01-11T23:23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lidoAppVersion">
    <vt:lpwstr>0.21.0.2123</vt:lpwstr>
  </property>
  <property fmtid="{D5CDD505-2E9C-101B-9397-08002B2CF9AE}" pid="3" name="ContentTypeId">
    <vt:lpwstr>0x0101009D5AEA1D5E362B469B27082600488281</vt:lpwstr>
  </property>
</Properties>
</file>